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08" r:id="rId1"/>
  </p:sldMasterIdLst>
  <p:notesMasterIdLst>
    <p:notesMasterId r:id="rId18"/>
  </p:notesMasterIdLst>
  <p:handoutMasterIdLst>
    <p:handoutMasterId r:id="rId19"/>
  </p:handoutMasterIdLst>
  <p:sldIdLst>
    <p:sldId id="257" r:id="rId2"/>
    <p:sldId id="473" r:id="rId3"/>
    <p:sldId id="440" r:id="rId4"/>
    <p:sldId id="441" r:id="rId5"/>
    <p:sldId id="474" r:id="rId6"/>
    <p:sldId id="259" r:id="rId7"/>
    <p:sldId id="443" r:id="rId8"/>
    <p:sldId id="444" r:id="rId9"/>
    <p:sldId id="458" r:id="rId10"/>
    <p:sldId id="456" r:id="rId11"/>
    <p:sldId id="459" r:id="rId12"/>
    <p:sldId id="460" r:id="rId13"/>
    <p:sldId id="304" r:id="rId14"/>
    <p:sldId id="478" r:id="rId15"/>
    <p:sldId id="479" r:id="rId16"/>
    <p:sldId id="477" r:id="rId17"/>
  </p:sldIdLst>
  <p:sldSz cx="9144000" cy="6858000" type="screen4x3"/>
  <p:notesSz cx="6797675" cy="9926638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1pPr>
    <a:lvl2pPr marL="4572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2pPr>
    <a:lvl3pPr marL="9144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3pPr>
    <a:lvl4pPr marL="13716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4pPr>
    <a:lvl5pPr marL="1828800" algn="l" rtl="0" fontAlgn="base">
      <a:spcBef>
        <a:spcPct val="0"/>
      </a:spcBef>
      <a:spcAft>
        <a:spcPct val="0"/>
      </a:spcAft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5pPr>
    <a:lvl6pPr marL="22860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6pPr>
    <a:lvl7pPr marL="27432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7pPr>
    <a:lvl8pPr marL="32004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8pPr>
    <a:lvl9pPr marL="3657600" algn="l" defTabSz="914400" rtl="0" eaLnBrk="1" latinLnBrk="0" hangingPunct="1">
      <a:defRPr sz="4200" kern="1200">
        <a:solidFill>
          <a:srgbClr val="000000"/>
        </a:solidFill>
        <a:latin typeface="Gill Sans"/>
        <a:ea typeface="ヒラギノ角ゴ ProN W3"/>
        <a:cs typeface="ヒラギノ角ゴ ProN W3"/>
        <a:sym typeface="Gill Sans"/>
      </a:defRPr>
    </a:lvl9pPr>
  </p:defaultTextStyle>
  <p:extLst>
    <p:ext uri="{EFAFB233-063F-42B5-8137-9DF3F51BA10A}">
      <p15:sldGuideLst xmlns:p15="http://schemas.microsoft.com/office/powerpoint/2012/main">
        <p15:guide id="1" orient="horz" pos="2372">
          <p15:clr>
            <a:srgbClr val="A4A3A4"/>
          </p15:clr>
        </p15:guide>
        <p15:guide id="2" orient="horz" pos="480">
          <p15:clr>
            <a:srgbClr val="A4A3A4"/>
          </p15:clr>
        </p15:guide>
        <p15:guide id="3" orient="horz" pos="1130">
          <p15:clr>
            <a:srgbClr val="A4A3A4"/>
          </p15:clr>
        </p15:guide>
        <p15:guide id="4" orient="horz" pos="1684">
          <p15:clr>
            <a:srgbClr val="A4A3A4"/>
          </p15:clr>
        </p15:guide>
        <p15:guide id="5" orient="horz" pos="2958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jarne Graabech Sørensen" initials="BGS" lastIdx="9" clrIdx="0"/>
  <p:cmAuthor id="1" name="Steen Kærn Christiansen" initials="SKC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llemlayout 1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llemlayout 4 - Marker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Mellemlayout 3 - 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AF606853-7671-496A-8E4F-DF71F8EC918B}" styleName="Mørkt layout 1 - Markering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Mørkt layout 2 - Markering 5/Markering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ema til typografi 1 - Markering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28" autoAdjust="0"/>
    <p:restoredTop sz="88000" autoAdjust="0"/>
  </p:normalViewPr>
  <p:slideViewPr>
    <p:cSldViewPr snapToGrid="0">
      <p:cViewPr varScale="1">
        <p:scale>
          <a:sx n="60" d="100"/>
          <a:sy n="60" d="100"/>
        </p:scale>
        <p:origin x="1764" y="40"/>
      </p:cViewPr>
      <p:guideLst>
        <p:guide orient="horz" pos="2372"/>
        <p:guide orient="horz" pos="480"/>
        <p:guide orient="horz" pos="1130"/>
        <p:guide orient="horz" pos="1684"/>
        <p:guide orient="horz" pos="2958"/>
        <p:guide pos="2880"/>
      </p:guideLst>
    </p:cSldViewPr>
  </p:slideViewPr>
  <p:outlineViewPr>
    <p:cViewPr>
      <p:scale>
        <a:sx n="33" d="100"/>
        <a:sy n="33" d="100"/>
      </p:scale>
      <p:origin x="0" y="1499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70" d="100"/>
          <a:sy n="170" d="100"/>
        </p:scale>
        <p:origin x="-1992" y="263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ørgen T Lauridsen" userId="67a32f02-cc3e-43a7-a21c-5aaec9d7ee21" providerId="ADAL" clId="{5021147B-9F37-45A4-AC8D-F5814D017638}"/>
    <pc:docChg chg="delSld">
      <pc:chgData name="Jørgen T Lauridsen" userId="67a32f02-cc3e-43a7-a21c-5aaec9d7ee21" providerId="ADAL" clId="{5021147B-9F37-45A4-AC8D-F5814D017638}" dt="2024-06-20T08:47:34.950" v="21" actId="47"/>
      <pc:docMkLst>
        <pc:docMk/>
      </pc:docMkLst>
      <pc:sldChg chg="del">
        <pc:chgData name="Jørgen T Lauridsen" userId="67a32f02-cc3e-43a7-a21c-5aaec9d7ee21" providerId="ADAL" clId="{5021147B-9F37-45A4-AC8D-F5814D017638}" dt="2024-06-20T08:46:44.926" v="1" actId="47"/>
        <pc:sldMkLst>
          <pc:docMk/>
          <pc:sldMk cId="2273887681" sldId="258"/>
        </pc:sldMkLst>
      </pc:sldChg>
      <pc:sldChg chg="del">
        <pc:chgData name="Jørgen T Lauridsen" userId="67a32f02-cc3e-43a7-a21c-5aaec9d7ee21" providerId="ADAL" clId="{5021147B-9F37-45A4-AC8D-F5814D017638}" dt="2024-06-20T08:46:47.378" v="4" actId="47"/>
        <pc:sldMkLst>
          <pc:docMk/>
          <pc:sldMk cId="48659285" sldId="262"/>
        </pc:sldMkLst>
      </pc:sldChg>
      <pc:sldChg chg="del">
        <pc:chgData name="Jørgen T Lauridsen" userId="67a32f02-cc3e-43a7-a21c-5aaec9d7ee21" providerId="ADAL" clId="{5021147B-9F37-45A4-AC8D-F5814D017638}" dt="2024-06-20T08:46:49.913" v="7" actId="47"/>
        <pc:sldMkLst>
          <pc:docMk/>
          <pc:sldMk cId="3487827147" sldId="263"/>
        </pc:sldMkLst>
      </pc:sldChg>
      <pc:sldChg chg="del">
        <pc:chgData name="Jørgen T Lauridsen" userId="67a32f02-cc3e-43a7-a21c-5aaec9d7ee21" providerId="ADAL" clId="{5021147B-9F37-45A4-AC8D-F5814D017638}" dt="2024-06-20T08:46:46.724" v="3" actId="47"/>
        <pc:sldMkLst>
          <pc:docMk/>
          <pc:sldMk cId="3425384241" sldId="264"/>
        </pc:sldMkLst>
      </pc:sldChg>
      <pc:sldChg chg="del">
        <pc:chgData name="Jørgen T Lauridsen" userId="67a32f02-cc3e-43a7-a21c-5aaec9d7ee21" providerId="ADAL" clId="{5021147B-9F37-45A4-AC8D-F5814D017638}" dt="2024-06-20T08:46:49.352" v="6" actId="47"/>
        <pc:sldMkLst>
          <pc:docMk/>
          <pc:sldMk cId="1974065258" sldId="265"/>
        </pc:sldMkLst>
      </pc:sldChg>
      <pc:sldChg chg="del">
        <pc:chgData name="Jørgen T Lauridsen" userId="67a32f02-cc3e-43a7-a21c-5aaec9d7ee21" providerId="ADAL" clId="{5021147B-9F37-45A4-AC8D-F5814D017638}" dt="2024-06-20T08:46:50.644" v="8" actId="47"/>
        <pc:sldMkLst>
          <pc:docMk/>
          <pc:sldMk cId="875163255" sldId="266"/>
        </pc:sldMkLst>
      </pc:sldChg>
      <pc:sldChg chg="del">
        <pc:chgData name="Jørgen T Lauridsen" userId="67a32f02-cc3e-43a7-a21c-5aaec9d7ee21" providerId="ADAL" clId="{5021147B-9F37-45A4-AC8D-F5814D017638}" dt="2024-06-20T08:46:51.204" v="9" actId="47"/>
        <pc:sldMkLst>
          <pc:docMk/>
          <pc:sldMk cId="4159391986" sldId="269"/>
        </pc:sldMkLst>
      </pc:sldChg>
      <pc:sldChg chg="del">
        <pc:chgData name="Jørgen T Lauridsen" userId="67a32f02-cc3e-43a7-a21c-5aaec9d7ee21" providerId="ADAL" clId="{5021147B-9F37-45A4-AC8D-F5814D017638}" dt="2024-06-20T08:46:51.732" v="10" actId="47"/>
        <pc:sldMkLst>
          <pc:docMk/>
          <pc:sldMk cId="778372323" sldId="279"/>
        </pc:sldMkLst>
      </pc:sldChg>
      <pc:sldChg chg="del">
        <pc:chgData name="Jørgen T Lauridsen" userId="67a32f02-cc3e-43a7-a21c-5aaec9d7ee21" providerId="ADAL" clId="{5021147B-9F37-45A4-AC8D-F5814D017638}" dt="2024-06-20T08:46:52.446" v="11" actId="47"/>
        <pc:sldMkLst>
          <pc:docMk/>
          <pc:sldMk cId="3709780214" sldId="281"/>
        </pc:sldMkLst>
      </pc:sldChg>
      <pc:sldChg chg="del">
        <pc:chgData name="Jørgen T Lauridsen" userId="67a32f02-cc3e-43a7-a21c-5aaec9d7ee21" providerId="ADAL" clId="{5021147B-9F37-45A4-AC8D-F5814D017638}" dt="2024-06-20T08:46:53.157" v="12" actId="47"/>
        <pc:sldMkLst>
          <pc:docMk/>
          <pc:sldMk cId="850001335" sldId="288"/>
        </pc:sldMkLst>
      </pc:sldChg>
      <pc:sldChg chg="del">
        <pc:chgData name="Jørgen T Lauridsen" userId="67a32f02-cc3e-43a7-a21c-5aaec9d7ee21" providerId="ADAL" clId="{5021147B-9F37-45A4-AC8D-F5814D017638}" dt="2024-06-20T08:46:53.918" v="13" actId="47"/>
        <pc:sldMkLst>
          <pc:docMk/>
          <pc:sldMk cId="3565657494" sldId="289"/>
        </pc:sldMkLst>
      </pc:sldChg>
      <pc:sldChg chg="del">
        <pc:chgData name="Jørgen T Lauridsen" userId="67a32f02-cc3e-43a7-a21c-5aaec9d7ee21" providerId="ADAL" clId="{5021147B-9F37-45A4-AC8D-F5814D017638}" dt="2024-06-20T08:46:54.750" v="14" actId="47"/>
        <pc:sldMkLst>
          <pc:docMk/>
          <pc:sldMk cId="125168808" sldId="290"/>
        </pc:sldMkLst>
      </pc:sldChg>
      <pc:sldChg chg="del">
        <pc:chgData name="Jørgen T Lauridsen" userId="67a32f02-cc3e-43a7-a21c-5aaec9d7ee21" providerId="ADAL" clId="{5021147B-9F37-45A4-AC8D-F5814D017638}" dt="2024-06-20T08:46:55.478" v="15" actId="47"/>
        <pc:sldMkLst>
          <pc:docMk/>
          <pc:sldMk cId="2201106352" sldId="293"/>
        </pc:sldMkLst>
      </pc:sldChg>
      <pc:sldChg chg="del">
        <pc:chgData name="Jørgen T Lauridsen" userId="67a32f02-cc3e-43a7-a21c-5aaec9d7ee21" providerId="ADAL" clId="{5021147B-9F37-45A4-AC8D-F5814D017638}" dt="2024-06-20T08:46:57.343" v="16" actId="47"/>
        <pc:sldMkLst>
          <pc:docMk/>
          <pc:sldMk cId="769452246" sldId="298"/>
        </pc:sldMkLst>
      </pc:sldChg>
      <pc:sldChg chg="del">
        <pc:chgData name="Jørgen T Lauridsen" userId="67a32f02-cc3e-43a7-a21c-5aaec9d7ee21" providerId="ADAL" clId="{5021147B-9F37-45A4-AC8D-F5814D017638}" dt="2024-06-20T08:46:58.355" v="17" actId="47"/>
        <pc:sldMkLst>
          <pc:docMk/>
          <pc:sldMk cId="1991531927" sldId="299"/>
        </pc:sldMkLst>
      </pc:sldChg>
      <pc:sldChg chg="del">
        <pc:chgData name="Jørgen T Lauridsen" userId="67a32f02-cc3e-43a7-a21c-5aaec9d7ee21" providerId="ADAL" clId="{5021147B-9F37-45A4-AC8D-F5814D017638}" dt="2024-06-20T08:46:48.737" v="5" actId="47"/>
        <pc:sldMkLst>
          <pc:docMk/>
          <pc:sldMk cId="0" sldId="434"/>
        </pc:sldMkLst>
      </pc:sldChg>
      <pc:sldChg chg="del">
        <pc:chgData name="Jørgen T Lauridsen" userId="67a32f02-cc3e-43a7-a21c-5aaec9d7ee21" providerId="ADAL" clId="{5021147B-9F37-45A4-AC8D-F5814D017638}" dt="2024-06-20T08:46:46.170" v="2" actId="47"/>
        <pc:sldMkLst>
          <pc:docMk/>
          <pc:sldMk cId="2728900899" sldId="462"/>
        </pc:sldMkLst>
      </pc:sldChg>
      <pc:sldChg chg="del">
        <pc:chgData name="Jørgen T Lauridsen" userId="67a32f02-cc3e-43a7-a21c-5aaec9d7ee21" providerId="ADAL" clId="{5021147B-9F37-45A4-AC8D-F5814D017638}" dt="2024-06-20T08:47:34.950" v="21" actId="47"/>
        <pc:sldMkLst>
          <pc:docMk/>
          <pc:sldMk cId="592189009" sldId="470"/>
        </pc:sldMkLst>
      </pc:sldChg>
      <pc:sldChg chg="del">
        <pc:chgData name="Jørgen T Lauridsen" userId="67a32f02-cc3e-43a7-a21c-5aaec9d7ee21" providerId="ADAL" clId="{5021147B-9F37-45A4-AC8D-F5814D017638}" dt="2024-06-20T08:47:01.094" v="19" actId="47"/>
        <pc:sldMkLst>
          <pc:docMk/>
          <pc:sldMk cId="1153692239" sldId="471"/>
        </pc:sldMkLst>
      </pc:sldChg>
      <pc:sldChg chg="del">
        <pc:chgData name="Jørgen T Lauridsen" userId="67a32f02-cc3e-43a7-a21c-5aaec9d7ee21" providerId="ADAL" clId="{5021147B-9F37-45A4-AC8D-F5814D017638}" dt="2024-06-20T08:46:59.018" v="18" actId="47"/>
        <pc:sldMkLst>
          <pc:docMk/>
          <pc:sldMk cId="1503417578" sldId="472"/>
        </pc:sldMkLst>
      </pc:sldChg>
      <pc:sldChg chg="del">
        <pc:chgData name="Jørgen T Lauridsen" userId="67a32f02-cc3e-43a7-a21c-5aaec9d7ee21" providerId="ADAL" clId="{5021147B-9F37-45A4-AC8D-F5814D017638}" dt="2024-06-20T08:46:43.541" v="0" actId="47"/>
        <pc:sldMkLst>
          <pc:docMk/>
          <pc:sldMk cId="1343127778" sldId="475"/>
        </pc:sldMkLst>
      </pc:sldChg>
      <pc:sldChg chg="del">
        <pc:chgData name="Jørgen T Lauridsen" userId="67a32f02-cc3e-43a7-a21c-5aaec9d7ee21" providerId="ADAL" clId="{5021147B-9F37-45A4-AC8D-F5814D017638}" dt="2024-06-20T08:47:03.619" v="20" actId="47"/>
        <pc:sldMkLst>
          <pc:docMk/>
          <pc:sldMk cId="3449649159" sldId="47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9" y="1"/>
            <a:ext cx="2946400" cy="496888"/>
          </a:xfrm>
          <a:prstGeom prst="rect">
            <a:avLst/>
          </a:prstGeom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da-DK"/>
              <a:t>14-12-2015</a:t>
            </a:r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9" y="9428165"/>
            <a:ext cx="2946400" cy="496887"/>
          </a:xfrm>
          <a:prstGeom prst="rect">
            <a:avLst/>
          </a:prstGeom>
        </p:spPr>
        <p:txBody>
          <a:bodyPr vert="horz" wrap="square" lIns="91303" tIns="45651" rIns="91303" bIns="45651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Gill Sans" pitchFamily="-106" charset="0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E520CA43-DB7E-4407-B17B-C208A2B1F30C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482794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Rectangle 2"/>
          <p:cNvSpPr>
            <a:spLocks noGrp="1" noChangeArrowheads="1"/>
          </p:cNvSpPr>
          <p:nvPr>
            <p:ph type="body" sz="quarter" idx="1"/>
          </p:nvPr>
        </p:nvSpPr>
        <p:spPr bwMode="auto">
          <a:xfrm>
            <a:off x="679452" y="4714877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03" tIns="45651" rIns="91303" bIns="45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97303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 pitchFamily="-106" charset="-128"/>
      </a:defRPr>
    </a:lvl1pPr>
    <a:lvl2pPr marL="4572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2pPr>
    <a:lvl3pPr marL="9144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3pPr>
    <a:lvl4pPr marL="13716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4pPr>
    <a:lvl5pPr marL="1828800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Gill Sans" pitchFamily="-106" charset="0"/>
        <a:ea typeface="ＭＳ Ｐゴシック" pitchFamily="-106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7722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0CB6C1F-8F8A-45E2-99F9-E9E3C9C72AC2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59DA85-E237-414D-A4A7-E1EE331E0E8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E7BD76D-AB0C-4A79-B4FD-55CC3C2F450C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D7F6E5-B367-4E9C-9CA9-62FF49E6CF08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2E9FECD-F0BC-4F7A-8D2B-00A000018BFC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16A73F-D75F-462B-B0DF-34EF239532E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586061-3604-41F3-88D4-4FE456D196BB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4B1BF-5002-4073-ABF8-66C9A5C2DC3D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FB390F-8F23-4FB3-995F-BF12A51F88EA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ED5B8-449C-4C00-9ED1-2158D4C717D5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AA027F-BB32-4158-BFC0-A1BCE3269D9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F8F4D9-2B8C-4CEC-ABC3-E6097AB89A5F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3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4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7CA500-E3E2-4B4E-A2E9-65073109609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AEBB25-0C2D-423D-AC15-A8405620D7D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EB8B4D-06E0-476D-86FC-F56588E9C8DE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C3CFD-DCD0-440F-B5CB-8627AC152A1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345C3B-6938-4175-8ED4-F5202FE76CA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938569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iteltypografi i masteren</a:t>
            </a:r>
          </a:p>
        </p:txBody>
      </p:sp>
      <p:sp>
        <p:nvSpPr>
          <p:cNvPr id="9220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 smtClean="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32A91003-79A7-4C7E-A68A-CE57C7218170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40036BC6-276E-4C58-9CD9-1F921C17584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1263" name="Picture 239" descr="C:\Users\kdu\Desktop\SDU logo package\SDU logo package\OFFICE + WEB LOGOS (png+jpg)\SDU_BLACK_RGB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3039" y="6247558"/>
            <a:ext cx="1096115" cy="293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74" r:id="rId5"/>
    <p:sldLayoutId id="2147483881" r:id="rId6"/>
    <p:sldLayoutId id="2147483882" r:id="rId7"/>
    <p:sldLayoutId id="2147483875" r:id="rId8"/>
    <p:sldLayoutId id="2147483876" r:id="rId9"/>
  </p:sldLayoutIdLst>
  <p:hf hdr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  <a:ea typeface="ＭＳ Ｐゴシック" pitchFamily="-106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ＭＳ Ｐゴシック" pitchFamily="-106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138223" y="285753"/>
            <a:ext cx="9005777" cy="2122168"/>
          </a:xfrm>
        </p:spPr>
        <p:txBody>
          <a:bodyPr/>
          <a:lstStyle/>
          <a:p>
            <a:pPr algn="ctr"/>
            <a:r>
              <a:rPr lang="en-GB" dirty="0" err="1"/>
              <a:t>Ulighed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sundhed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Danmark</a:t>
            </a:r>
            <a:br>
              <a:rPr lang="en-GB" dirty="0"/>
            </a:br>
            <a:br>
              <a:rPr lang="en-GB" dirty="0"/>
            </a:br>
            <a:endParaRPr lang="da-DK" sz="2800" dirty="0"/>
          </a:p>
        </p:txBody>
      </p:sp>
      <p:sp>
        <p:nvSpPr>
          <p:cNvPr id="8" name="Undertitel 7"/>
          <p:cNvSpPr>
            <a:spLocks noGrp="1"/>
          </p:cNvSpPr>
          <p:nvPr>
            <p:ph type="subTitle" idx="1"/>
          </p:nvPr>
        </p:nvSpPr>
        <p:spPr>
          <a:xfrm>
            <a:off x="894946" y="5454502"/>
            <a:ext cx="7324926" cy="1117746"/>
          </a:xfrm>
        </p:spPr>
        <p:txBody>
          <a:bodyPr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Jørgen T. Lauridsen</a:t>
            </a:r>
          </a:p>
          <a:p>
            <a:pPr algn="ctr"/>
            <a:r>
              <a:rPr lang="da-DK" dirty="0">
                <a:solidFill>
                  <a:schemeClr val="tx1"/>
                </a:solidFill>
              </a:rPr>
              <a:t>Økonomisk Institut, Syddansk Universitet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54B59283-DE6D-4CF4-B8BE-AEFE24438CD0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5398952" cy="285750"/>
          </a:xfrm>
        </p:spPr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D7F6E5-B367-4E9C-9CA9-62FF49E6CF08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7BA15188-A266-017B-1C0B-4EC1DE58AE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47742" y="1646717"/>
            <a:ext cx="5986738" cy="3367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9313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FA936F9A-801A-86D0-4A33-84CDDDFC6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900336"/>
          </a:xfrm>
        </p:spPr>
        <p:txBody>
          <a:bodyPr/>
          <a:lstStyle/>
          <a:p>
            <a:r>
              <a:rPr lang="da-DK" dirty="0"/>
              <a:t>Fra </a:t>
            </a:r>
            <a:r>
              <a:rPr lang="da-DK" dirty="0" err="1"/>
              <a:t>statistikbanken.dk</a:t>
            </a:r>
            <a:r>
              <a:rPr lang="da-DK" dirty="0"/>
              <a:t>: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5E5FAE4-394E-AE60-3CB7-FEE536B74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AC2BA0-96F5-4932-93BC-A5325D0D0600}" type="slidenum">
              <a:rPr lang="en-GB" altLang="da-DK" smtClean="0"/>
              <a:pPr>
                <a:defRPr/>
              </a:pPr>
              <a:t>10</a:t>
            </a:fld>
            <a:endParaRPr lang="en-GB" altLang="da-DK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6891C915-7D70-5CBF-0294-CC1F1CF0DC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11760" y="1297384"/>
            <a:ext cx="4900217" cy="517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3134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607F2-A95A-EB34-0862-3C381C090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213382"/>
          </a:xfrm>
        </p:spPr>
        <p:txBody>
          <a:bodyPr/>
          <a:lstStyle/>
          <a:p>
            <a:pPr algn="ctr"/>
            <a:r>
              <a:rPr lang="da-DK" dirty="0"/>
              <a:t>Dør man af at droppe ud af skolen?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D9F3D37-198D-D199-68A6-ADCCA22A3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343DA723-BF59-528F-2204-CD94E655B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2D45487-ADBD-E4AA-4525-B7DC2498C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4860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5607F2-A95A-EB34-0862-3C381C0906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12651"/>
            <a:ext cx="9144000" cy="1244009"/>
          </a:xfrm>
        </p:spPr>
        <p:txBody>
          <a:bodyPr/>
          <a:lstStyle/>
          <a:p>
            <a:pPr algn="ctr"/>
            <a:r>
              <a:rPr lang="da-DK" dirty="0"/>
              <a:t>Dør man af at droppe ud af skolen?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D9F3D37-198D-D199-68A6-ADCCA22A3A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343DA723-BF59-528F-2204-CD94E655B6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82D45487-ADBD-E4AA-4525-B7DC2498C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5F3904A0-DCA8-D95F-7D00-C06E9A604F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906" y="1623017"/>
            <a:ext cx="6254271" cy="4537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3515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0336AC-EDD1-9EC5-E9E4-D4FE643FA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r ulighed et biprodukt, når velfærdsstaten producerer velfærd?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9187272-653B-5A8B-93C5-B3F4CBBD5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7BD76D-AB0C-4A79-B4FD-55CC3C2F450C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E8107D9-AD90-B04D-6D45-359CD42CC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6F884B9-6F24-E0E6-936C-718320B16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D7F6E5-B367-4E9C-9CA9-62FF49E6CF08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pic>
        <p:nvPicPr>
          <p:cNvPr id="7" name="Billede 6" descr="Et billede, der indeholder person, tøj, tegning, tegneserie&#10;&#10;Automatisk genereret beskrivelse">
            <a:extLst>
              <a:ext uri="{FF2B5EF4-FFF2-40B4-BE49-F238E27FC236}">
                <a16:creationId xmlns:a16="http://schemas.microsoft.com/office/drawing/2014/main" id="{DDEB9253-BA64-42E4-E1F4-2B45A57923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785" y="1580302"/>
            <a:ext cx="6167313" cy="4621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21505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07A24172-71D5-948F-CEF4-CD404895E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Ulighed i sundhed: Årsager</a:t>
            </a:r>
          </a:p>
        </p:txBody>
      </p:sp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B715BD0E-37F2-1201-7647-41D006F8C7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903228"/>
            <a:ext cx="8229600" cy="4222935"/>
          </a:xfrm>
        </p:spPr>
        <p:txBody>
          <a:bodyPr/>
          <a:lstStyle/>
          <a:p>
            <a:r>
              <a:rPr lang="da-DK" dirty="0"/>
              <a:t>Hvad er de vigtigste årsager til at sociale forhold omsættes i sundhedsmæssige forskelle?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5F09F203-4075-A382-EEF7-8BCEBE0FB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803BC87-CCCB-058B-5E6E-9791E2480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CBFAC527-A7E3-BA19-8D90-751B870EF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2180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el 1">
            <a:extLst>
              <a:ext uri="{FF2B5EF4-FFF2-40B4-BE49-F238E27FC236}">
                <a16:creationId xmlns:a16="http://schemas.microsoft.com/office/drawing/2014/main" id="{5D883CFB-5FB8-7348-B82D-F14BC152FEC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138223"/>
            <a:ext cx="9144000" cy="808075"/>
          </a:xfrm>
        </p:spPr>
        <p:txBody>
          <a:bodyPr/>
          <a:lstStyle/>
          <a:p>
            <a:r>
              <a:rPr lang="da-DK" altLang="da-DK" sz="3800" dirty="0"/>
              <a:t>Tolv kilder til social ulighed i sundhed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F9B8336D-2EF3-03ED-D109-13577B6027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8625" y="1020727"/>
            <a:ext cx="8481459" cy="5432462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Børns tidlige udvikling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Skolegang og ungdomsuddannelse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Bolig og nærmiljø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Indkomst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Arbejdsløshed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Social belastning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Fysisk miljø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Arbejdsmiljø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Sundhedsadfærd og livsstil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Tab af funktionsevne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Sundhedsvæsenets rolle</a:t>
            </a:r>
          </a:p>
          <a:p>
            <a:pPr marL="514350" indent="-514350">
              <a:buFont typeface="+mj-lt"/>
              <a:buAutoNum type="arabicPeriod"/>
              <a:defRPr/>
            </a:pPr>
            <a:r>
              <a:rPr lang="da-DK" dirty="0"/>
              <a:t>Arbejdsmarkedets rolle</a:t>
            </a:r>
          </a:p>
        </p:txBody>
      </p:sp>
      <p:sp>
        <p:nvSpPr>
          <p:cNvPr id="28676" name="Pladsholder til diasnummer 3">
            <a:extLst>
              <a:ext uri="{FF2B5EF4-FFF2-40B4-BE49-F238E27FC236}">
                <a16:creationId xmlns:a16="http://schemas.microsoft.com/office/drawing/2014/main" id="{94282A04-078E-DB22-2610-D6571C1C9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E3029368-08C1-40D9-BDF8-D3ACFA5966F5}" type="slidenum">
              <a:rPr lang="en-GB" altLang="da-DK" sz="1400" smtClean="0"/>
              <a:pPr>
                <a:spcBef>
                  <a:spcPct val="0"/>
                </a:spcBef>
                <a:buFontTx/>
                <a:buNone/>
              </a:pPr>
              <a:t>15</a:t>
            </a:fld>
            <a:endParaRPr lang="en-GB" altLang="da-DK" sz="140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B6D554-4169-E2E3-9A4E-7122A4863A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308534"/>
          </a:xfrm>
        </p:spPr>
        <p:txBody>
          <a:bodyPr/>
          <a:lstStyle/>
          <a:p>
            <a:pPr algn="ctr"/>
            <a:r>
              <a:rPr lang="da-DK" sz="4800" dirty="0"/>
              <a:t>Gruppearbejd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5BED142-5E83-811F-512B-654B595A2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31FD9F13-C819-7819-12D5-31B3CA0A87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56610B54-9429-06CE-3438-B34E1296D0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1885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86C18E-E62B-D84B-EDA2-73F4A39615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versigt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9E62BDB-66A1-EB0E-8840-F536BD8E43F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Om mig selv</a:t>
            </a:r>
          </a:p>
          <a:p>
            <a:r>
              <a:rPr lang="da-DK" dirty="0"/>
              <a:t>Foredrag del I ca. 1 time</a:t>
            </a:r>
          </a:p>
          <a:p>
            <a:r>
              <a:rPr lang="da-DK" dirty="0"/>
              <a:t>Gruppearbejde ca. 1 time</a:t>
            </a:r>
          </a:p>
          <a:p>
            <a:r>
              <a:rPr lang="da-DK" dirty="0"/>
              <a:t>Opsamling på gruppearbejde + foredrag del II ca. 1 tim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D256867-F594-DDAD-DC1E-24C75FB28B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7BD76D-AB0C-4A79-B4FD-55CC3C2F450C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A6EA19E-1F0D-4DA5-4720-832347D93D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177B34D-8291-F509-08B9-23998FF43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D7F6E5-B367-4E9C-9CA9-62FF49E6CF0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2010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571B32-FF9D-3706-BB24-893E67780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52400"/>
            <a:ext cx="7772400" cy="756320"/>
          </a:xfrm>
        </p:spPr>
        <p:txBody>
          <a:bodyPr/>
          <a:lstStyle/>
          <a:p>
            <a:r>
              <a:rPr lang="da-DK" dirty="0"/>
              <a:t>Om mig selv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E26DBFF-D6EF-31F7-7319-481CA105F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124744"/>
            <a:ext cx="7772400" cy="5123656"/>
          </a:xfrm>
        </p:spPr>
        <p:txBody>
          <a:bodyPr/>
          <a:lstStyle/>
          <a:p>
            <a:r>
              <a:rPr lang="da-DK" dirty="0"/>
              <a:t>HF fra Svendborg Gymnasium 1983</a:t>
            </a:r>
          </a:p>
          <a:p>
            <a:r>
              <a:rPr lang="da-DK" dirty="0"/>
              <a:t>Kandidateksamen i matematik og økonomi fra SDU 1992</a:t>
            </a:r>
          </a:p>
          <a:p>
            <a:r>
              <a:rPr lang="da-DK" dirty="0"/>
              <a:t>Ph.d.-grad i økonomi fra SDU 1995</a:t>
            </a:r>
          </a:p>
          <a:p>
            <a:r>
              <a:rPr lang="da-DK" dirty="0"/>
              <a:t>Adjunkt og lektor ved SDU 1995-2008</a:t>
            </a:r>
          </a:p>
          <a:p>
            <a:r>
              <a:rPr lang="da-DK" dirty="0"/>
              <a:t>Professor i sundhedsøkonomi ved SDU fra 2008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A590077E-BE3A-398D-7403-DB50DF9E4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AC2BA0-96F5-4932-93BC-A5325D0D0600}" type="slidenum">
              <a:rPr lang="en-GB" altLang="da-DK" smtClean="0"/>
              <a:pPr>
                <a:defRPr/>
              </a:pPr>
              <a:t>3</a:t>
            </a:fld>
            <a:endParaRPr lang="en-GB" altLang="da-DK"/>
          </a:p>
        </p:txBody>
      </p:sp>
    </p:spTree>
    <p:extLst>
      <p:ext uri="{BB962C8B-B14F-4D97-AF65-F5344CB8AC3E}">
        <p14:creationId xmlns:p14="http://schemas.microsoft.com/office/powerpoint/2010/main" val="17482269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BD0CE0-DB56-CF6A-D2B1-F1E68AC9C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260648"/>
            <a:ext cx="7772400" cy="720080"/>
          </a:xfrm>
        </p:spPr>
        <p:txBody>
          <a:bodyPr/>
          <a:lstStyle/>
          <a:p>
            <a:r>
              <a:rPr lang="da-DK" dirty="0"/>
              <a:t>Mine aktivite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1AC97FD-A454-D20D-41AB-956EF92253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980728"/>
            <a:ext cx="7772400" cy="5472608"/>
          </a:xfrm>
        </p:spPr>
        <p:txBody>
          <a:bodyPr>
            <a:normAutofit/>
          </a:bodyPr>
          <a:lstStyle/>
          <a:p>
            <a:r>
              <a:rPr lang="da-DK" u="sng" dirty="0"/>
              <a:t>Forskning</a:t>
            </a:r>
            <a:r>
              <a:rPr lang="da-DK" dirty="0"/>
              <a:t> i emner indenfor statistik, matematik og sundhedsøkonomi</a:t>
            </a:r>
          </a:p>
          <a:p>
            <a:pPr lvl="1"/>
            <a:r>
              <a:rPr lang="da-DK" dirty="0"/>
              <a:t>Herunder ulighed i sundhed</a:t>
            </a:r>
          </a:p>
          <a:p>
            <a:r>
              <a:rPr lang="da-DK" u="sng" dirty="0"/>
              <a:t>Undervisning</a:t>
            </a:r>
            <a:r>
              <a:rPr lang="da-DK" dirty="0"/>
              <a:t> i statistik og matematik</a:t>
            </a:r>
          </a:p>
          <a:p>
            <a:r>
              <a:rPr lang="da-DK" u="sng" dirty="0"/>
              <a:t>Formidling</a:t>
            </a:r>
            <a:r>
              <a:rPr lang="da-DK" dirty="0"/>
              <a:t>: Foredrag og artikler om ulighed i sundhed</a:t>
            </a:r>
          </a:p>
          <a:p>
            <a:r>
              <a:rPr lang="da-DK" u="sng" dirty="0"/>
              <a:t>Administration og ledelse</a:t>
            </a:r>
            <a:r>
              <a:rPr lang="da-DK" dirty="0"/>
              <a:t>: </a:t>
            </a:r>
          </a:p>
          <a:p>
            <a:pPr lvl="1"/>
            <a:r>
              <a:rPr lang="da-DK" dirty="0"/>
              <a:t>Leder af en spørgeskemaundersøgelse blandt ældre i Danmark (SHARE)</a:t>
            </a:r>
          </a:p>
          <a:p>
            <a:pPr lvl="1"/>
            <a:r>
              <a:rPr lang="da-DK" dirty="0"/>
              <a:t>Leder af ph.d.-skolen i </a:t>
            </a:r>
            <a:r>
              <a:rPr lang="da-DK" dirty="0" err="1"/>
              <a:t>samfuindsvidenskab</a:t>
            </a:r>
            <a:r>
              <a:rPr lang="da-DK" dirty="0"/>
              <a:t> på SDU</a:t>
            </a:r>
          </a:p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8351BE1-CE1A-DD1D-D24A-3C182F8A1A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AC2BA0-96F5-4932-93BC-A5325D0D0600}" type="slidenum">
              <a:rPr lang="en-GB" altLang="da-DK" smtClean="0"/>
              <a:pPr>
                <a:defRPr/>
              </a:pPr>
              <a:t>4</a:t>
            </a:fld>
            <a:endParaRPr lang="en-GB" altLang="da-DK"/>
          </a:p>
        </p:txBody>
      </p:sp>
    </p:spTree>
    <p:extLst>
      <p:ext uri="{BB962C8B-B14F-4D97-AF65-F5344CB8AC3E}">
        <p14:creationId xmlns:p14="http://schemas.microsoft.com/office/powerpoint/2010/main" val="3402237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B1F80D-6ECC-F03A-9C38-3BD312B68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Gruppearbejde </a:t>
            </a:r>
            <a:r>
              <a:rPr lang="da-DK" dirty="0" err="1"/>
              <a:t>ca</a:t>
            </a:r>
            <a:r>
              <a:rPr lang="da-DK" dirty="0"/>
              <a:t> 1 time: Der var engang …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133088D-3FFC-9AC1-1076-0624C675B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4497572"/>
            <a:ext cx="8229600" cy="2074678"/>
          </a:xfrm>
        </p:spPr>
        <p:txBody>
          <a:bodyPr/>
          <a:lstStyle/>
          <a:p>
            <a:r>
              <a:rPr lang="da-DK" dirty="0"/>
              <a:t>Med relation til foredrag del I, men ellers helt frit slag:</a:t>
            </a:r>
          </a:p>
          <a:p>
            <a:pPr lvl="1"/>
            <a:r>
              <a:rPr lang="da-DK" dirty="0"/>
              <a:t>Skriv et eventyr om hvad der førte til at Pia blev gymnasielærer, mens  Susanne blev vagabond</a:t>
            </a:r>
          </a:p>
          <a:p>
            <a:pPr lvl="1"/>
            <a:r>
              <a:rPr lang="da-DK" dirty="0"/>
              <a:t>Begynd med ”Der var engang …”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15C9143-F482-8B5F-7A85-FF12B1926B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E7BD76D-AB0C-4A79-B4FD-55CC3C2F450C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1DF9C70-88A0-4549-F0EA-2121CF039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CE2B924-A7EA-0AC4-F8F1-B1DC7D82F4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D7F6E5-B367-4E9C-9CA9-62FF49E6CF08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2CCE82D-1D67-52D4-FFA5-16914D4E6F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1325" y="1939555"/>
            <a:ext cx="2497322" cy="1664881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3A0414A-4BE3-81CF-6F1F-C80C7380A9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26641" y="1939556"/>
            <a:ext cx="2959787" cy="1664880"/>
          </a:xfrm>
          <a:prstGeom prst="rect">
            <a:avLst/>
          </a:prstGeom>
        </p:spPr>
      </p:pic>
      <p:pic>
        <p:nvPicPr>
          <p:cNvPr id="10" name="Billede 9" descr="Et billede, der indeholder tøj, Ansigt, person, portræt&#10;&#10;Automatisk genereret beskrivelse">
            <a:extLst>
              <a:ext uri="{FF2B5EF4-FFF2-40B4-BE49-F238E27FC236}">
                <a16:creationId xmlns:a16="http://schemas.microsoft.com/office/drawing/2014/main" id="{FD332DC0-1FAD-9688-208B-CA679165E4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731" y="1796902"/>
            <a:ext cx="1661855" cy="253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182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46B930-48CC-B506-6356-CCE5D105C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38224"/>
            <a:ext cx="8229600" cy="903768"/>
          </a:xfrm>
        </p:spPr>
        <p:txBody>
          <a:bodyPr/>
          <a:lstStyle/>
          <a:p>
            <a:r>
              <a:rPr lang="da-DK" dirty="0"/>
              <a:t>Hvad er ulighed i sundhed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61F08E2-145C-B836-E256-AC8E198F9F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41993"/>
            <a:ext cx="5582093" cy="3306724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WHO definitionen:</a:t>
            </a: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r>
              <a:rPr lang="da-DK" dirty="0"/>
              <a:t>Social ulighed i sundhed er systematiske forskelle mellem socioøkonomiske grupper i sundhedsstatus. Sådanne forskelle er socialt produceret og derfor undgåelige og følgelig uacceptabl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F548844-0566-465D-9B1B-070DCEDA2D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1F338D3-CB6F-4489-8D61-12D6AF79B2E8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F1EC7F-EE8A-B005-DD86-6B6B291B5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D9490C2-1401-EA73-5DEF-6048FD84A9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D7F6E5-B367-4E9C-9CA9-62FF49E6CF08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pic>
        <p:nvPicPr>
          <p:cNvPr id="8" name="Billede 7" descr="Et billede, der indeholder person, hund, indendørs, mur&#10;&#10;Automatisk genereret beskrivelse">
            <a:extLst>
              <a:ext uri="{FF2B5EF4-FFF2-40B4-BE49-F238E27FC236}">
                <a16:creationId xmlns:a16="http://schemas.microsoft.com/office/drawing/2014/main" id="{10D6BA74-CDF9-82A5-13EA-5AF51DCF60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9293" y="1054749"/>
            <a:ext cx="2551814" cy="3917036"/>
          </a:xfrm>
          <a:prstGeom prst="rect">
            <a:avLst/>
          </a:prstGeom>
        </p:spPr>
      </p:pic>
      <p:pic>
        <p:nvPicPr>
          <p:cNvPr id="10" name="Billede 9" descr="Et billede, der indeholder Medicinsk udstyr, lægeundersøgelse/medicin, sundhedsvæsen, indendørs&#10;&#10;Automatisk genereret beskrivelse">
            <a:extLst>
              <a:ext uri="{FF2B5EF4-FFF2-40B4-BE49-F238E27FC236}">
                <a16:creationId xmlns:a16="http://schemas.microsoft.com/office/drawing/2014/main" id="{3EDBD9E9-7478-7185-D431-BFDC78EE58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4641" y="4348717"/>
            <a:ext cx="4481951" cy="2062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531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A17705-A8E2-B501-B01F-76D6EACF7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7"/>
            <a:ext cx="8452884" cy="4233568"/>
          </a:xfrm>
        </p:spPr>
        <p:txBody>
          <a:bodyPr/>
          <a:lstStyle/>
          <a:p>
            <a:pPr algn="ctr"/>
            <a:r>
              <a:rPr lang="da-DK" dirty="0"/>
              <a:t>Kan man dø af sit postnummer?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284FC10-2AE2-09A2-A1B0-71E79E851A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DA08BF1-A7B8-DC5D-9F9E-ABCE39CED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009F78-B35A-3D2A-DD1D-DEFFB808B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66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A17705-A8E2-B501-B01F-76D6EACF7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6"/>
            <a:ext cx="8452884" cy="5509475"/>
          </a:xfrm>
        </p:spPr>
        <p:txBody>
          <a:bodyPr/>
          <a:lstStyle/>
          <a:p>
            <a:pPr algn="ctr"/>
            <a:r>
              <a:rPr lang="da-DK" dirty="0"/>
              <a:t>Kan man dø af sit postnummer?</a:t>
            </a:r>
            <a:br>
              <a:rPr lang="da-DK" dirty="0"/>
            </a:br>
            <a:br>
              <a:rPr lang="da-DK" dirty="0"/>
            </a:br>
            <a:r>
              <a:rPr lang="da-DK" dirty="0"/>
              <a:t>4900 : Lolland</a:t>
            </a:r>
            <a:br>
              <a:rPr lang="da-DK" dirty="0"/>
            </a:br>
            <a:r>
              <a:rPr lang="da-DK" dirty="0"/>
              <a:t>2870 : Gentofte</a:t>
            </a:r>
            <a:br>
              <a:rPr lang="da-DK" dirty="0"/>
            </a:b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284FC10-2AE2-09A2-A1B0-71E79E851A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DA08BF1-A7B8-DC5D-9F9E-ABCE39CED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009F78-B35A-3D2A-DD1D-DEFFB808B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1454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A17705-A8E2-B501-B01F-76D6EACF7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6"/>
            <a:ext cx="8452884" cy="5509475"/>
          </a:xfrm>
        </p:spPr>
        <p:txBody>
          <a:bodyPr/>
          <a:lstStyle/>
          <a:p>
            <a:pPr algn="ctr"/>
            <a:r>
              <a:rPr lang="da-DK" dirty="0"/>
              <a:t>Kan man dø af sit postnummer?</a:t>
            </a:r>
            <a:br>
              <a:rPr lang="da-DK" dirty="0"/>
            </a:br>
            <a:br>
              <a:rPr lang="da-DK" dirty="0"/>
            </a:br>
            <a:r>
              <a:rPr lang="da-DK" dirty="0"/>
              <a:t>4900 : Lolland</a:t>
            </a:r>
            <a:br>
              <a:rPr lang="da-DK" dirty="0"/>
            </a:br>
            <a:r>
              <a:rPr lang="da-DK" dirty="0"/>
              <a:t>Levetid for nyfødte: 78.6 år</a:t>
            </a:r>
            <a:br>
              <a:rPr lang="da-DK" dirty="0"/>
            </a:br>
            <a:r>
              <a:rPr lang="da-DK" dirty="0"/>
              <a:t>2870 : Gentofte</a:t>
            </a:r>
            <a:br>
              <a:rPr lang="da-DK" dirty="0"/>
            </a:br>
            <a:r>
              <a:rPr lang="da-DK" dirty="0"/>
              <a:t>Levetid for nyfødte: 83.8 år</a:t>
            </a:r>
            <a:br>
              <a:rPr lang="da-DK" dirty="0"/>
            </a:br>
            <a:br>
              <a:rPr lang="da-DK" dirty="0"/>
            </a:b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9284FC10-2AE2-09A2-A1B0-71E79E851A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9EC9FA0-6689-40EB-AC36-969CCB3D40A7}" type="datetime3">
              <a:rPr lang="da-DK" smtClean="0"/>
              <a:t>20.06.2024</a:t>
            </a:fld>
            <a:endParaRPr lang="da-DK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DA08BF1-A7B8-DC5D-9F9E-ABCE39CED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ørgen T. Lauridsen, Department of Economics</a:t>
            </a:r>
            <a:endParaRPr lang="da-DK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2009F78-B35A-3D2A-DD1D-DEFFB808B6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FAA027F-BB32-4158-BFC0-A1BCE3269D9B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101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kabelon nyt logo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kabelon nyt logo</Template>
  <TotalTime>657</TotalTime>
  <Pages>0</Pages>
  <Words>482</Words>
  <Characters>0</Characters>
  <Application>Microsoft Office PowerPoint</Application>
  <PresentationFormat>Skærmshow (4:3)</PresentationFormat>
  <Lines>0</Lines>
  <Paragraphs>93</Paragraphs>
  <Slides>16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2" baseType="lpstr">
      <vt:lpstr>Arial</vt:lpstr>
      <vt:lpstr>Gill Sans</vt:lpstr>
      <vt:lpstr>Gill Sans MT</vt:lpstr>
      <vt:lpstr>Wingdings</vt:lpstr>
      <vt:lpstr>Skabelon nyt logo</vt:lpstr>
      <vt:lpstr>think-cell Slide</vt:lpstr>
      <vt:lpstr>Ulighed i sundhed i Danmark  </vt:lpstr>
      <vt:lpstr>Oversigt</vt:lpstr>
      <vt:lpstr>Om mig selv</vt:lpstr>
      <vt:lpstr>Mine aktiviteter</vt:lpstr>
      <vt:lpstr>Gruppearbejde ca 1 time: Der var engang …</vt:lpstr>
      <vt:lpstr>Hvad er ulighed i sundhed?</vt:lpstr>
      <vt:lpstr>Kan man dø af sit postnummer?</vt:lpstr>
      <vt:lpstr>Kan man dø af sit postnummer?  4900 : Lolland 2870 : Gentofte </vt:lpstr>
      <vt:lpstr>Kan man dø af sit postnummer?  4900 : Lolland Levetid for nyfødte: 78.6 år 2870 : Gentofte Levetid for nyfødte: 83.8 år  </vt:lpstr>
      <vt:lpstr>Fra statistikbanken.dk:</vt:lpstr>
      <vt:lpstr>Dør man af at droppe ud af skolen?</vt:lpstr>
      <vt:lpstr>Dør man af at droppe ud af skolen?</vt:lpstr>
      <vt:lpstr>Er ulighed et biprodukt, når velfærdsstaten producerer velfærd?</vt:lpstr>
      <vt:lpstr>Ulighed i sundhed: Årsager</vt:lpstr>
      <vt:lpstr>Tolv kilder til social ulighed i sundhed</vt:lpstr>
      <vt:lpstr>Gruppearbejde</vt:lpstr>
    </vt:vector>
  </TitlesOfParts>
  <Company>Syddansk Universitet - Samfundsvidenskab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s nummer 1</dc:title>
  <dc:creator>jtl</dc:creator>
  <cp:lastModifiedBy>Jørgen T Lauridsen</cp:lastModifiedBy>
  <cp:revision>32</cp:revision>
  <cp:lastPrinted>2015-11-17T09:19:47Z</cp:lastPrinted>
  <dcterms:created xsi:type="dcterms:W3CDTF">2016-04-11T07:35:35Z</dcterms:created>
  <dcterms:modified xsi:type="dcterms:W3CDTF">2024-06-20T08:47:45Z</dcterms:modified>
</cp:coreProperties>
</file>